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7" r:id="rId9"/>
    <p:sldId id="308" r:id="rId10"/>
    <p:sldId id="309" r:id="rId11"/>
    <p:sldId id="310"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guide id="13" orient="horz" pos="23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DBD1F94-86D8-4BE6-94BC-5BA36297C6B7}" v="54" dt="2023-03-07T00:39:56.16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60"/>
  </p:normalViewPr>
  <p:slideViewPr>
    <p:cSldViewPr snapToGrid="0" showGuides="1">
      <p:cViewPr varScale="1">
        <p:scale>
          <a:sx n="110" d="100"/>
          <a:sy n="110" d="100"/>
        </p:scale>
        <p:origin x="114" y="336"/>
      </p:cViewPr>
      <p:guideLst>
        <p:guide orient="horz" pos="648"/>
        <p:guide pos="3552"/>
        <p:guide pos="7584"/>
        <p:guide orient="horz" pos="4032"/>
        <p:guide pos="96"/>
        <p:guide pos="2856"/>
        <p:guide pos="576"/>
        <p:guide orient="horz" pos="3840"/>
        <p:guide orient="horz" pos="816"/>
        <p:guide orient="horz" pos="1032"/>
        <p:guide orient="horz" pos="3600"/>
        <p:guide orient="horz" pos="232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4DBD1F94-86D8-4BE6-94BC-5BA36297C6B7}"/>
    <pc:docChg chg="addSld delSld modSld">
      <pc:chgData name="Roberto Gallardo" userId="49a044883f185952" providerId="LiveId" clId="{4DBD1F94-86D8-4BE6-94BC-5BA36297C6B7}" dt="2023-03-07T00:40:06.211" v="357" actId="1036"/>
      <pc:docMkLst>
        <pc:docMk/>
      </pc:docMkLst>
      <pc:sldChg chg="del">
        <pc:chgData name="Roberto Gallardo" userId="49a044883f185952" providerId="LiveId" clId="{4DBD1F94-86D8-4BE6-94BC-5BA36297C6B7}" dt="2023-02-25T15:02:19.746" v="71" actId="47"/>
        <pc:sldMkLst>
          <pc:docMk/>
          <pc:sldMk cId="1175010214" sldId="261"/>
        </pc:sldMkLst>
      </pc:sldChg>
      <pc:sldChg chg="addSp modSp mod">
        <pc:chgData name="Roberto Gallardo" userId="49a044883f185952" providerId="LiveId" clId="{4DBD1F94-86D8-4BE6-94BC-5BA36297C6B7}" dt="2023-03-07T00:34:23.274" v="80" actId="1076"/>
        <pc:sldMkLst>
          <pc:docMk/>
          <pc:sldMk cId="1418533539" sldId="271"/>
        </pc:sldMkLst>
        <pc:picChg chg="add mod">
          <ac:chgData name="Roberto Gallardo" userId="49a044883f185952" providerId="LiveId" clId="{4DBD1F94-86D8-4BE6-94BC-5BA36297C6B7}" dt="2023-03-07T00:34:23.274" v="80" actId="1076"/>
          <ac:picMkLst>
            <pc:docMk/>
            <pc:sldMk cId="1418533539" sldId="271"/>
            <ac:picMk id="6" creationId="{4D312161-9171-631F-502B-66A97FEC2793}"/>
          </ac:picMkLst>
        </pc:picChg>
      </pc:sldChg>
      <pc:sldChg chg="addSp modSp mod">
        <pc:chgData name="Roberto Gallardo" userId="49a044883f185952" providerId="LiveId" clId="{4DBD1F94-86D8-4BE6-94BC-5BA36297C6B7}" dt="2023-03-07T00:36:31.438" v="135" actId="1076"/>
        <pc:sldMkLst>
          <pc:docMk/>
          <pc:sldMk cId="2124848710" sldId="281"/>
        </pc:sldMkLst>
        <pc:picChg chg="add mod">
          <ac:chgData name="Roberto Gallardo" userId="49a044883f185952" providerId="LiveId" clId="{4DBD1F94-86D8-4BE6-94BC-5BA36297C6B7}" dt="2023-03-07T00:36:31.438" v="135" actId="1076"/>
          <ac:picMkLst>
            <pc:docMk/>
            <pc:sldMk cId="2124848710" sldId="281"/>
            <ac:picMk id="6" creationId="{A15A418F-C108-D29A-F949-165D3A91773E}"/>
          </ac:picMkLst>
        </pc:picChg>
      </pc:sldChg>
      <pc:sldChg chg="addSp modSp mod">
        <pc:chgData name="Roberto Gallardo" userId="49a044883f185952" providerId="LiveId" clId="{4DBD1F94-86D8-4BE6-94BC-5BA36297C6B7}" dt="2023-03-07T00:36:48.692" v="149" actId="1036"/>
        <pc:sldMkLst>
          <pc:docMk/>
          <pc:sldMk cId="2028175529" sldId="282"/>
        </pc:sldMkLst>
        <pc:picChg chg="add mod">
          <ac:chgData name="Roberto Gallardo" userId="49a044883f185952" providerId="LiveId" clId="{4DBD1F94-86D8-4BE6-94BC-5BA36297C6B7}" dt="2023-03-07T00:36:48.692" v="149" actId="1036"/>
          <ac:picMkLst>
            <pc:docMk/>
            <pc:sldMk cId="2028175529" sldId="282"/>
            <ac:picMk id="7" creationId="{BC763F90-4E30-CF4C-21B4-403154DF8C7C}"/>
          </ac:picMkLst>
        </pc:picChg>
      </pc:sldChg>
      <pc:sldChg chg="addSp modSp mod">
        <pc:chgData name="Roberto Gallardo" userId="49a044883f185952" providerId="LiveId" clId="{4DBD1F94-86D8-4BE6-94BC-5BA36297C6B7}" dt="2023-03-07T00:37:05.320" v="164" actId="1035"/>
        <pc:sldMkLst>
          <pc:docMk/>
          <pc:sldMk cId="1326517747" sldId="283"/>
        </pc:sldMkLst>
        <pc:picChg chg="add mod">
          <ac:chgData name="Roberto Gallardo" userId="49a044883f185952" providerId="LiveId" clId="{4DBD1F94-86D8-4BE6-94BC-5BA36297C6B7}" dt="2023-03-07T00:37:05.320" v="164" actId="1035"/>
          <ac:picMkLst>
            <pc:docMk/>
            <pc:sldMk cId="1326517747" sldId="283"/>
            <ac:picMk id="7" creationId="{78F673DF-3EF5-8B88-A5E3-D48D8D6C38CD}"/>
          </ac:picMkLst>
        </pc:picChg>
      </pc:sldChg>
      <pc:sldChg chg="addSp modSp mod">
        <pc:chgData name="Roberto Gallardo" userId="49a044883f185952" providerId="LiveId" clId="{4DBD1F94-86D8-4BE6-94BC-5BA36297C6B7}" dt="2023-03-07T00:37:22.518" v="188" actId="1035"/>
        <pc:sldMkLst>
          <pc:docMk/>
          <pc:sldMk cId="783739251" sldId="284"/>
        </pc:sldMkLst>
        <pc:picChg chg="add mod">
          <ac:chgData name="Roberto Gallardo" userId="49a044883f185952" providerId="LiveId" clId="{4DBD1F94-86D8-4BE6-94BC-5BA36297C6B7}" dt="2023-03-07T00:37:22.518" v="188" actId="1035"/>
          <ac:picMkLst>
            <pc:docMk/>
            <pc:sldMk cId="783739251" sldId="284"/>
            <ac:picMk id="7" creationId="{DB354E4E-1551-F525-3A28-3FCFF854867B}"/>
          </ac:picMkLst>
        </pc:picChg>
      </pc:sldChg>
      <pc:sldChg chg="addSp modSp mod">
        <pc:chgData name="Roberto Gallardo" userId="49a044883f185952" providerId="LiveId" clId="{4DBD1F94-86D8-4BE6-94BC-5BA36297C6B7}" dt="2023-03-07T00:37:43.254" v="210" actId="1036"/>
        <pc:sldMkLst>
          <pc:docMk/>
          <pc:sldMk cId="1676122233" sldId="285"/>
        </pc:sldMkLst>
        <pc:picChg chg="add mod">
          <ac:chgData name="Roberto Gallardo" userId="49a044883f185952" providerId="LiveId" clId="{4DBD1F94-86D8-4BE6-94BC-5BA36297C6B7}" dt="2023-03-07T00:37:43.254" v="210" actId="1036"/>
          <ac:picMkLst>
            <pc:docMk/>
            <pc:sldMk cId="1676122233" sldId="285"/>
            <ac:picMk id="7" creationId="{2CCE5596-7A33-9819-98C2-887FBDE080DE}"/>
          </ac:picMkLst>
        </pc:picChg>
      </pc:sldChg>
      <pc:sldChg chg="addSp modSp mod">
        <pc:chgData name="Roberto Gallardo" userId="49a044883f185952" providerId="LiveId" clId="{4DBD1F94-86D8-4BE6-94BC-5BA36297C6B7}" dt="2023-03-07T00:38:02.471" v="242" actId="1035"/>
        <pc:sldMkLst>
          <pc:docMk/>
          <pc:sldMk cId="3100398757" sldId="286"/>
        </pc:sldMkLst>
        <pc:picChg chg="add mod">
          <ac:chgData name="Roberto Gallardo" userId="49a044883f185952" providerId="LiveId" clId="{4DBD1F94-86D8-4BE6-94BC-5BA36297C6B7}" dt="2023-03-07T00:38:02.471" v="242" actId="1035"/>
          <ac:picMkLst>
            <pc:docMk/>
            <pc:sldMk cId="3100398757" sldId="286"/>
            <ac:picMk id="7" creationId="{3620C82F-039C-DE40-67A8-75572756EC9B}"/>
          </ac:picMkLst>
        </pc:picChg>
      </pc:sldChg>
      <pc:sldChg chg="addSp modSp mod">
        <pc:chgData name="Roberto Gallardo" userId="49a044883f185952" providerId="LiveId" clId="{4DBD1F94-86D8-4BE6-94BC-5BA36297C6B7}" dt="2023-03-07T00:38:18.160" v="252" actId="1036"/>
        <pc:sldMkLst>
          <pc:docMk/>
          <pc:sldMk cId="1546475425" sldId="287"/>
        </pc:sldMkLst>
        <pc:picChg chg="add mod">
          <ac:chgData name="Roberto Gallardo" userId="49a044883f185952" providerId="LiveId" clId="{4DBD1F94-86D8-4BE6-94BC-5BA36297C6B7}" dt="2023-03-07T00:38:18.160" v="252" actId="1036"/>
          <ac:picMkLst>
            <pc:docMk/>
            <pc:sldMk cId="1546475425" sldId="287"/>
            <ac:picMk id="7" creationId="{3D81EC82-69C5-7595-52D5-317E7EC6AFC2}"/>
          </ac:picMkLst>
        </pc:picChg>
      </pc:sldChg>
      <pc:sldChg chg="addSp modSp mod">
        <pc:chgData name="Roberto Gallardo" userId="49a044883f185952" providerId="LiveId" clId="{4DBD1F94-86D8-4BE6-94BC-5BA36297C6B7}" dt="2023-03-07T00:38:54.258" v="285" actId="1035"/>
        <pc:sldMkLst>
          <pc:docMk/>
          <pc:sldMk cId="1380517306" sldId="288"/>
        </pc:sldMkLst>
        <pc:picChg chg="add mod">
          <ac:chgData name="Roberto Gallardo" userId="49a044883f185952" providerId="LiveId" clId="{4DBD1F94-86D8-4BE6-94BC-5BA36297C6B7}" dt="2023-03-07T00:38:54.258" v="285" actId="1035"/>
          <ac:picMkLst>
            <pc:docMk/>
            <pc:sldMk cId="1380517306" sldId="288"/>
            <ac:picMk id="7" creationId="{8461EF58-9D46-6ED6-D869-AC109D321062}"/>
          </ac:picMkLst>
        </pc:picChg>
      </pc:sldChg>
      <pc:sldChg chg="addSp modSp mod">
        <pc:chgData name="Roberto Gallardo" userId="49a044883f185952" providerId="LiveId" clId="{4DBD1F94-86D8-4BE6-94BC-5BA36297C6B7}" dt="2023-03-07T00:39:12.001" v="297" actId="1036"/>
        <pc:sldMkLst>
          <pc:docMk/>
          <pc:sldMk cId="1388671151" sldId="289"/>
        </pc:sldMkLst>
        <pc:picChg chg="add mod">
          <ac:chgData name="Roberto Gallardo" userId="49a044883f185952" providerId="LiveId" clId="{4DBD1F94-86D8-4BE6-94BC-5BA36297C6B7}" dt="2023-03-07T00:39:12.001" v="297" actId="1036"/>
          <ac:picMkLst>
            <pc:docMk/>
            <pc:sldMk cId="1388671151" sldId="289"/>
            <ac:picMk id="7" creationId="{A266CC35-1EEC-7424-0C06-81D59ED3449A}"/>
          </ac:picMkLst>
        </pc:picChg>
      </pc:sldChg>
      <pc:sldChg chg="addSp modSp mod">
        <pc:chgData name="Roberto Gallardo" userId="49a044883f185952" providerId="LiveId" clId="{4DBD1F94-86D8-4BE6-94BC-5BA36297C6B7}" dt="2023-03-07T00:39:49.680" v="339" actId="1035"/>
        <pc:sldMkLst>
          <pc:docMk/>
          <pc:sldMk cId="2355376039" sldId="290"/>
        </pc:sldMkLst>
        <pc:picChg chg="add mod">
          <ac:chgData name="Roberto Gallardo" userId="49a044883f185952" providerId="LiveId" clId="{4DBD1F94-86D8-4BE6-94BC-5BA36297C6B7}" dt="2023-03-07T00:39:49.680" v="339" actId="1035"/>
          <ac:picMkLst>
            <pc:docMk/>
            <pc:sldMk cId="2355376039" sldId="290"/>
            <ac:picMk id="8" creationId="{4984C097-0841-6524-42A5-789B50ED0A30}"/>
          </ac:picMkLst>
        </pc:picChg>
      </pc:sldChg>
      <pc:sldChg chg="addSp modSp mod">
        <pc:chgData name="Roberto Gallardo" userId="49a044883f185952" providerId="LiveId" clId="{4DBD1F94-86D8-4BE6-94BC-5BA36297C6B7}" dt="2023-03-07T00:40:06.211" v="357" actId="1036"/>
        <pc:sldMkLst>
          <pc:docMk/>
          <pc:sldMk cId="3757257295" sldId="291"/>
        </pc:sldMkLst>
        <pc:picChg chg="add mod">
          <ac:chgData name="Roberto Gallardo" userId="49a044883f185952" providerId="LiveId" clId="{4DBD1F94-86D8-4BE6-94BC-5BA36297C6B7}" dt="2023-03-07T00:40:06.211" v="357" actId="1036"/>
          <ac:picMkLst>
            <pc:docMk/>
            <pc:sldMk cId="3757257295" sldId="291"/>
            <ac:picMk id="8" creationId="{907D2E1F-0122-5BDC-EFEF-C215C02E7BC9}"/>
          </ac:picMkLst>
        </pc:picChg>
      </pc:sldChg>
      <pc:sldChg chg="addSp modSp mod">
        <pc:chgData name="Roberto Gallardo" userId="49a044883f185952" providerId="LiveId" clId="{4DBD1F94-86D8-4BE6-94BC-5BA36297C6B7}" dt="2023-03-07T00:38:34.465" v="263" actId="1036"/>
        <pc:sldMkLst>
          <pc:docMk/>
          <pc:sldMk cId="1259856727" sldId="292"/>
        </pc:sldMkLst>
        <pc:picChg chg="add mod">
          <ac:chgData name="Roberto Gallardo" userId="49a044883f185952" providerId="LiveId" clId="{4DBD1F94-86D8-4BE6-94BC-5BA36297C6B7}" dt="2023-03-07T00:38:34.465" v="263" actId="1036"/>
          <ac:picMkLst>
            <pc:docMk/>
            <pc:sldMk cId="1259856727" sldId="292"/>
            <ac:picMk id="7" creationId="{A271989A-A1C1-C840-4C4C-8EACE94D1BD0}"/>
          </ac:picMkLst>
        </pc:picChg>
      </pc:sldChg>
      <pc:sldChg chg="addSp modSp mod">
        <pc:chgData name="Roberto Gallardo" userId="49a044883f185952" providerId="LiveId" clId="{4DBD1F94-86D8-4BE6-94BC-5BA36297C6B7}" dt="2023-03-07T00:36:17.525" v="127" actId="1076"/>
        <pc:sldMkLst>
          <pc:docMk/>
          <pc:sldMk cId="3324519687" sldId="293"/>
        </pc:sldMkLst>
        <pc:picChg chg="add mod">
          <ac:chgData name="Roberto Gallardo" userId="49a044883f185952" providerId="LiveId" clId="{4DBD1F94-86D8-4BE6-94BC-5BA36297C6B7}" dt="2023-03-07T00:36:17.525" v="127" actId="1076"/>
          <ac:picMkLst>
            <pc:docMk/>
            <pc:sldMk cId="3324519687" sldId="293"/>
            <ac:picMk id="7" creationId="{E546ACCF-779D-B639-AAA0-CF1F4BF8371C}"/>
          </ac:picMkLst>
        </pc:picChg>
      </pc:sldChg>
      <pc:sldChg chg="addSp modSp mod">
        <pc:chgData name="Roberto Gallardo" userId="49a044883f185952" providerId="LiveId" clId="{4DBD1F94-86D8-4BE6-94BC-5BA36297C6B7}" dt="2023-03-07T00:35:34.634" v="108" actId="1076"/>
        <pc:sldMkLst>
          <pc:docMk/>
          <pc:sldMk cId="3256182630" sldId="295"/>
        </pc:sldMkLst>
        <pc:picChg chg="add mod">
          <ac:chgData name="Roberto Gallardo" userId="49a044883f185952" providerId="LiveId" clId="{4DBD1F94-86D8-4BE6-94BC-5BA36297C6B7}" dt="2023-03-07T00:35:34.634" v="108" actId="1076"/>
          <ac:picMkLst>
            <pc:docMk/>
            <pc:sldMk cId="3256182630" sldId="295"/>
            <ac:picMk id="7" creationId="{60641033-CEE4-845F-26C8-46CBDF9DEDAA}"/>
          </ac:picMkLst>
        </pc:picChg>
      </pc:sldChg>
      <pc:sldChg chg="addSp modSp mod">
        <pc:chgData name="Roberto Gallardo" userId="49a044883f185952" providerId="LiveId" clId="{4DBD1F94-86D8-4BE6-94BC-5BA36297C6B7}" dt="2023-03-07T00:35:57.847" v="116" actId="1076"/>
        <pc:sldMkLst>
          <pc:docMk/>
          <pc:sldMk cId="4057156843" sldId="296"/>
        </pc:sldMkLst>
        <pc:picChg chg="add mod">
          <ac:chgData name="Roberto Gallardo" userId="49a044883f185952" providerId="LiveId" clId="{4DBD1F94-86D8-4BE6-94BC-5BA36297C6B7}" dt="2023-03-07T00:35:57.847" v="116" actId="1076"/>
          <ac:picMkLst>
            <pc:docMk/>
            <pc:sldMk cId="4057156843" sldId="296"/>
            <ac:picMk id="7" creationId="{70501C30-A080-981D-0D37-9AC2BF675D5C}"/>
          </ac:picMkLst>
        </pc:picChg>
      </pc:sldChg>
      <pc:sldChg chg="addSp modSp mod">
        <pc:chgData name="Roberto Gallardo" userId="49a044883f185952" providerId="LiveId" clId="{4DBD1F94-86D8-4BE6-94BC-5BA36297C6B7}" dt="2023-03-07T00:35:13.043" v="100" actId="1076"/>
        <pc:sldMkLst>
          <pc:docMk/>
          <pc:sldMk cId="2080110827" sldId="297"/>
        </pc:sldMkLst>
        <pc:picChg chg="add mod">
          <ac:chgData name="Roberto Gallardo" userId="49a044883f185952" providerId="LiveId" clId="{4DBD1F94-86D8-4BE6-94BC-5BA36297C6B7}" dt="2023-03-07T00:35:13.043" v="100" actId="1076"/>
          <ac:picMkLst>
            <pc:docMk/>
            <pc:sldMk cId="2080110827" sldId="297"/>
            <ac:picMk id="6" creationId="{DF94470D-2F62-6932-591B-A2A3CBA18830}"/>
          </ac:picMkLst>
        </pc:picChg>
      </pc:sldChg>
      <pc:sldChg chg="addSp modSp mod">
        <pc:chgData name="Roberto Gallardo" userId="49a044883f185952" providerId="LiveId" clId="{4DBD1F94-86D8-4BE6-94BC-5BA36297C6B7}" dt="2023-03-07T00:34:50.666" v="91" actId="1076"/>
        <pc:sldMkLst>
          <pc:docMk/>
          <pc:sldMk cId="1532666867" sldId="298"/>
        </pc:sldMkLst>
        <pc:picChg chg="add mod">
          <ac:chgData name="Roberto Gallardo" userId="49a044883f185952" providerId="LiveId" clId="{4DBD1F94-86D8-4BE6-94BC-5BA36297C6B7}" dt="2023-03-07T00:34:50.666" v="91" actId="1076"/>
          <ac:picMkLst>
            <pc:docMk/>
            <pc:sldMk cId="1532666867" sldId="298"/>
            <ac:picMk id="6" creationId="{835C568D-3984-EEAE-096A-D8ED1F4A2892}"/>
          </ac:picMkLst>
        </pc:picChg>
      </pc:sldChg>
      <pc:sldChg chg="addSp modSp mod">
        <pc:chgData name="Roberto Gallardo" userId="49a044883f185952" providerId="LiveId" clId="{4DBD1F94-86D8-4BE6-94BC-5BA36297C6B7}" dt="2023-03-07T00:39:30.378" v="318" actId="1036"/>
        <pc:sldMkLst>
          <pc:docMk/>
          <pc:sldMk cId="1951376777" sldId="299"/>
        </pc:sldMkLst>
        <pc:picChg chg="add mod">
          <ac:chgData name="Roberto Gallardo" userId="49a044883f185952" providerId="LiveId" clId="{4DBD1F94-86D8-4BE6-94BC-5BA36297C6B7}" dt="2023-03-07T00:39:30.378" v="318" actId="1036"/>
          <ac:picMkLst>
            <pc:docMk/>
            <pc:sldMk cId="1951376777" sldId="299"/>
            <ac:picMk id="7" creationId="{A891D469-F2EE-BB12-D84F-4EFACBAA48B3}"/>
          </ac:picMkLst>
        </pc:picChg>
      </pc:sldChg>
      <pc:sldChg chg="modSp mod">
        <pc:chgData name="Roberto Gallardo" userId="49a044883f185952" providerId="LiveId" clId="{4DBD1F94-86D8-4BE6-94BC-5BA36297C6B7}" dt="2023-02-25T13:14:02.189" v="69" actId="20577"/>
        <pc:sldMkLst>
          <pc:docMk/>
          <pc:sldMk cId="1515423683" sldId="302"/>
        </pc:sldMkLst>
        <pc:spChg chg="mod">
          <ac:chgData name="Roberto Gallardo" userId="49a044883f185952" providerId="LiveId" clId="{4DBD1F94-86D8-4BE6-94BC-5BA36297C6B7}" dt="2023-02-25T13:14:02.189" v="69" actId="20577"/>
          <ac:spMkLst>
            <pc:docMk/>
            <pc:sldMk cId="1515423683" sldId="302"/>
            <ac:spMk id="5" creationId="{6AE302AC-8931-4144-BE52-DD1A8BA82462}"/>
          </ac:spMkLst>
        </pc:spChg>
        <pc:spChg chg="mod">
          <ac:chgData name="Roberto Gallardo" userId="49a044883f185952" providerId="LiveId" clId="{4DBD1F94-86D8-4BE6-94BC-5BA36297C6B7}" dt="2023-02-25T13:13:58.794" v="68" actId="20577"/>
          <ac:spMkLst>
            <pc:docMk/>
            <pc:sldMk cId="1515423683" sldId="302"/>
            <ac:spMk id="9" creationId="{E362A98F-7DCD-C67C-23CE-1BE182A133B4}"/>
          </ac:spMkLst>
        </pc:spChg>
      </pc:sldChg>
      <pc:sldChg chg="del">
        <pc:chgData name="Roberto Gallardo" userId="49a044883f185952" providerId="LiveId" clId="{4DBD1F94-86D8-4BE6-94BC-5BA36297C6B7}" dt="2023-02-25T15:02:19.746" v="71" actId="47"/>
        <pc:sldMkLst>
          <pc:docMk/>
          <pc:sldMk cId="2841628872" sldId="303"/>
        </pc:sldMkLst>
      </pc:sldChg>
      <pc:sldChg chg="del">
        <pc:chgData name="Roberto Gallardo" userId="49a044883f185952" providerId="LiveId" clId="{4DBD1F94-86D8-4BE6-94BC-5BA36297C6B7}" dt="2023-02-25T15:02:19.746" v="71" actId="47"/>
        <pc:sldMkLst>
          <pc:docMk/>
          <pc:sldMk cId="3084076302" sldId="304"/>
        </pc:sldMkLst>
      </pc:sldChg>
      <pc:sldChg chg="del">
        <pc:chgData name="Roberto Gallardo" userId="49a044883f185952" providerId="LiveId" clId="{4DBD1F94-86D8-4BE6-94BC-5BA36297C6B7}" dt="2023-02-25T15:02:19.746" v="71" actId="47"/>
        <pc:sldMkLst>
          <pc:docMk/>
          <pc:sldMk cId="473712435" sldId="305"/>
        </pc:sldMkLst>
      </pc:sldChg>
      <pc:sldChg chg="modSp mod">
        <pc:chgData name="Roberto Gallardo" userId="49a044883f185952" providerId="LiveId" clId="{4DBD1F94-86D8-4BE6-94BC-5BA36297C6B7}" dt="2023-02-25T13:01:23.264" v="66" actId="14100"/>
        <pc:sldMkLst>
          <pc:docMk/>
          <pc:sldMk cId="2366022307" sldId="306"/>
        </pc:sldMkLst>
        <pc:spChg chg="mod">
          <ac:chgData name="Roberto Gallardo" userId="49a044883f185952" providerId="LiveId" clId="{4DBD1F94-86D8-4BE6-94BC-5BA36297C6B7}" dt="2023-02-25T13:00:54.029" v="33" actId="20577"/>
          <ac:spMkLst>
            <pc:docMk/>
            <pc:sldMk cId="2366022307" sldId="306"/>
            <ac:spMk id="11" creationId="{09F5AE19-B4E3-7788-F25F-CDA80D596DAF}"/>
          </ac:spMkLst>
        </pc:spChg>
        <pc:spChg chg="mod">
          <ac:chgData name="Roberto Gallardo" userId="49a044883f185952" providerId="LiveId" clId="{4DBD1F94-86D8-4BE6-94BC-5BA36297C6B7}" dt="2023-02-25T13:00:20.641" v="3" actId="20577"/>
          <ac:spMkLst>
            <pc:docMk/>
            <pc:sldMk cId="2366022307" sldId="306"/>
            <ac:spMk id="54" creationId="{A3E50468-1406-7218-3862-7FC87362F92A}"/>
          </ac:spMkLst>
        </pc:spChg>
        <pc:grpChg chg="mod">
          <ac:chgData name="Roberto Gallardo" userId="49a044883f185952" providerId="LiveId" clId="{4DBD1F94-86D8-4BE6-94BC-5BA36297C6B7}" dt="2023-02-25T13:00:34.801" v="22" actId="1035"/>
          <ac:grpSpMkLst>
            <pc:docMk/>
            <pc:sldMk cId="2366022307" sldId="306"/>
            <ac:grpSpMk id="53" creationId="{D7D8A83F-566E-C02E-CB43-57165FEE999B}"/>
          </ac:grpSpMkLst>
        </pc:grpChg>
        <pc:cxnChg chg="mod">
          <ac:chgData name="Roberto Gallardo" userId="49a044883f185952" providerId="LiveId" clId="{4DBD1F94-86D8-4BE6-94BC-5BA36297C6B7}" dt="2023-02-25T13:01:02.944" v="52" actId="1035"/>
          <ac:cxnSpMkLst>
            <pc:docMk/>
            <pc:sldMk cId="2366022307" sldId="306"/>
            <ac:cxnSpMk id="26" creationId="{4FA35577-4238-5D8D-F083-D76255B4ABA5}"/>
          </ac:cxnSpMkLst>
        </pc:cxnChg>
        <pc:cxnChg chg="mod">
          <ac:chgData name="Roberto Gallardo" userId="49a044883f185952" providerId="LiveId" clId="{4DBD1F94-86D8-4BE6-94BC-5BA36297C6B7}" dt="2023-02-25T13:01:20.086" v="65" actId="1035"/>
          <ac:cxnSpMkLst>
            <pc:docMk/>
            <pc:sldMk cId="2366022307" sldId="306"/>
            <ac:cxnSpMk id="27" creationId="{F0CF8142-8895-D0A8-A662-E40568742508}"/>
          </ac:cxnSpMkLst>
        </pc:cxnChg>
        <pc:cxnChg chg="mod">
          <ac:chgData name="Roberto Gallardo" userId="49a044883f185952" providerId="LiveId" clId="{4DBD1F94-86D8-4BE6-94BC-5BA36297C6B7}" dt="2023-02-25T13:01:23.264" v="66" actId="14100"/>
          <ac:cxnSpMkLst>
            <pc:docMk/>
            <pc:sldMk cId="2366022307" sldId="306"/>
            <ac:cxnSpMk id="28" creationId="{15C28C80-F0E1-159F-F103-CEA53436F6F9}"/>
          </ac:cxnSpMkLst>
        </pc:cxnChg>
        <pc:cxnChg chg="mod">
          <ac:chgData name="Roberto Gallardo" userId="49a044883f185952" providerId="LiveId" clId="{4DBD1F94-86D8-4BE6-94BC-5BA36297C6B7}" dt="2023-02-25T13:01:15.312" v="54" actId="14100"/>
          <ac:cxnSpMkLst>
            <pc:docMk/>
            <pc:sldMk cId="2366022307" sldId="306"/>
            <ac:cxnSpMk id="29" creationId="{783CFD35-8D28-EF95-B783-8C1E52BEC855}"/>
          </ac:cxnSpMkLst>
        </pc:cxnChg>
        <pc:cxnChg chg="mod">
          <ac:chgData name="Roberto Gallardo" userId="49a044883f185952" providerId="LiveId" clId="{4DBD1F94-86D8-4BE6-94BC-5BA36297C6B7}" dt="2023-02-25T13:00:41.887" v="28" actId="1036"/>
          <ac:cxnSpMkLst>
            <pc:docMk/>
            <pc:sldMk cId="2366022307" sldId="306"/>
            <ac:cxnSpMk id="56" creationId="{B207EDBE-016B-2169-25DF-3803131ED8E0}"/>
          </ac:cxnSpMkLst>
        </pc:cxnChg>
        <pc:cxnChg chg="mod">
          <ac:chgData name="Roberto Gallardo" userId="49a044883f185952" providerId="LiveId" clId="{4DBD1F94-86D8-4BE6-94BC-5BA36297C6B7}" dt="2023-02-25T13:00:45.617" v="29" actId="14100"/>
          <ac:cxnSpMkLst>
            <pc:docMk/>
            <pc:sldMk cId="2366022307" sldId="306"/>
            <ac:cxnSpMk id="57" creationId="{43E1635D-50E3-B15D-6150-D91884CC3ABE}"/>
          </ac:cxnSpMkLst>
        </pc:cxnChg>
      </pc:sldChg>
      <pc:sldChg chg="add">
        <pc:chgData name="Roberto Gallardo" userId="49a044883f185952" providerId="LiveId" clId="{4DBD1F94-86D8-4BE6-94BC-5BA36297C6B7}" dt="2023-02-25T15:02:16.715" v="70"/>
        <pc:sldMkLst>
          <pc:docMk/>
          <pc:sldMk cId="1405074138" sldId="307"/>
        </pc:sldMkLst>
      </pc:sldChg>
      <pc:sldChg chg="add">
        <pc:chgData name="Roberto Gallardo" userId="49a044883f185952" providerId="LiveId" clId="{4DBD1F94-86D8-4BE6-94BC-5BA36297C6B7}" dt="2023-02-25T15:02:16.715" v="70"/>
        <pc:sldMkLst>
          <pc:docMk/>
          <pc:sldMk cId="2033774636" sldId="308"/>
        </pc:sldMkLst>
      </pc:sldChg>
      <pc:sldChg chg="add">
        <pc:chgData name="Roberto Gallardo" userId="49a044883f185952" providerId="LiveId" clId="{4DBD1F94-86D8-4BE6-94BC-5BA36297C6B7}" dt="2023-02-25T15:02:16.715" v="70"/>
        <pc:sldMkLst>
          <pc:docMk/>
          <pc:sldMk cId="2062665195" sldId="309"/>
        </pc:sldMkLst>
      </pc:sldChg>
      <pc:sldChg chg="add">
        <pc:chgData name="Roberto Gallardo" userId="49a044883f185952" providerId="LiveId" clId="{4DBD1F94-86D8-4BE6-94BC-5BA36297C6B7}" dt="2023-02-25T15:02:16.715" v="70"/>
        <pc:sldMkLst>
          <pc:docMk/>
          <pc:sldMk cId="385709160" sldId="310"/>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6/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Alleghany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2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4941882B-01EE-D0B3-5302-DB3277CC5EC2}"/>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20626651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416B78BA-AAEA-DC69-1D01-02D7C0E41508}"/>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3857091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4D312161-9171-631F-502B-66A97FEC279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7632" y="1026027"/>
            <a:ext cx="7600535" cy="5374773"/>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835C568D-3984-EEAE-096A-D8ED1F4A289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32846"/>
            <a:ext cx="7596755" cy="5372100"/>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DF94470D-2F62-6932-591B-A2A3CBA1883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7720AFF7-7AAC-81C8-5C24-9BEF3D18D6E1}"/>
              </a:ext>
            </a:extLst>
          </p:cNvPr>
          <p:cNvPicPr preferRelativeResize="0"/>
          <p:nvPr/>
        </p:nvPicPr>
        <p:blipFill>
          <a:blip r:embed="rId2"/>
          <a:stretch>
            <a:fillRect/>
          </a:stretch>
        </p:blipFill>
        <p:spPr>
          <a:xfrm>
            <a:off x="149225" y="1763713"/>
            <a:ext cx="5337175" cy="3829050"/>
          </a:xfrm>
          <a:prstGeom prst="rect">
            <a:avLst/>
          </a:prstGeom>
        </p:spPr>
      </p:pic>
      <p:pic>
        <p:nvPicPr>
          <p:cNvPr id="7" name="Picture 6" descr="Map&#10;&#10;Description automatically generated">
            <a:extLst>
              <a:ext uri="{FF2B5EF4-FFF2-40B4-BE49-F238E27FC236}">
                <a16:creationId xmlns:a16="http://schemas.microsoft.com/office/drawing/2014/main" id="{60641033-CEE4-845F-26C8-46CBDF9DEDA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930"/>
            <a:ext cx="6403975" cy="4528616"/>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3F14510D-B2DF-3FAB-92AE-BC22EAEC6AAE}"/>
              </a:ext>
            </a:extLst>
          </p:cNvPr>
          <p:cNvPicPr preferRelativeResize="0"/>
          <p:nvPr/>
        </p:nvPicPr>
        <p:blipFill>
          <a:blip r:embed="rId2"/>
          <a:stretch>
            <a:fillRect/>
          </a:stretch>
        </p:blipFill>
        <p:spPr>
          <a:xfrm>
            <a:off x="149225" y="1754188"/>
            <a:ext cx="5372100" cy="3844925"/>
          </a:xfrm>
          <a:prstGeom prst="rect">
            <a:avLst/>
          </a:prstGeom>
        </p:spPr>
      </p:pic>
      <p:pic>
        <p:nvPicPr>
          <p:cNvPr id="7" name="Picture 6" descr="Diagram, map&#10;&#10;Description automatically generated">
            <a:extLst>
              <a:ext uri="{FF2B5EF4-FFF2-40B4-BE49-F238E27FC236}">
                <a16:creationId xmlns:a16="http://schemas.microsoft.com/office/drawing/2014/main" id="{70501C30-A080-981D-0D37-9AC2BF675D5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464"/>
            <a:ext cx="6400800" cy="4526371"/>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65C8B8D6-1C1E-F9BB-9096-A155DFC36EA6}"/>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Map&#10;&#10;Description automatically generated">
            <a:extLst>
              <a:ext uri="{FF2B5EF4-FFF2-40B4-BE49-F238E27FC236}">
                <a16:creationId xmlns:a16="http://schemas.microsoft.com/office/drawing/2014/main" id="{E546ACCF-779D-B639-AAA0-CF1F4BF8371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13270"/>
            <a:ext cx="6400799" cy="4526370"/>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C567E984-D123-BA9D-59D0-2600747593FA}"/>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Diagram, map&#10;&#10;Description automatically generated">
            <a:extLst>
              <a:ext uri="{FF2B5EF4-FFF2-40B4-BE49-F238E27FC236}">
                <a16:creationId xmlns:a16="http://schemas.microsoft.com/office/drawing/2014/main" id="{A15A418F-C108-D29A-F949-165D3A9177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1547"/>
            <a:ext cx="6403975" cy="4528617"/>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0534B2B7-D406-B1AD-6C46-600A122E7D36}"/>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BC763F90-4E30-CF4C-21B4-403154DF8C7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17232"/>
            <a:ext cx="6400800" cy="4526371"/>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a:t>
            </a:r>
            <a:r>
              <a:rPr lang="en-US" sz="1400"/>
              <a:t>color)).</a:t>
            </a:r>
            <a:endParaRPr lang="en-US" sz="1400" dirty="0"/>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60603C59-7384-C194-D279-55F44B8627F9}"/>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78F673DF-3EF5-8B88-A5E3-D48D8D6C38C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230"/>
            <a:ext cx="6400800" cy="4526372"/>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596AC426-AD91-330F-7A5F-18B16AF1F41D}"/>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DB354E4E-1551-F525-3A28-3FCFF854867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0838" y="1419497"/>
            <a:ext cx="6408764" cy="4532003"/>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1585458A-D096-2D9B-D2F8-8F7F521F25DB}"/>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2CCE5596-7A33-9819-98C2-887FBDE080D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1585"/>
            <a:ext cx="6403882" cy="4528551"/>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7CB44AC9-80C7-BD71-1BE9-E3D2233F1220}"/>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3620C82F-039C-DE40-67A8-75572756EC9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4635"/>
            <a:ext cx="6410325" cy="4533108"/>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30ED0775-4021-BA45-AD0B-FD24173286DE}"/>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3D81EC82-69C5-7595-52D5-317E7EC6AFC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227"/>
            <a:ext cx="6400800" cy="4526372"/>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D79C8612-36AC-C471-5580-6AB0AB73FC5A}"/>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A271989A-A1C1-C840-4C4C-8EACE94D1BD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9252"/>
            <a:ext cx="6399482" cy="4525439"/>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7495592F-A797-7191-ED3E-52F531230CA7}"/>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8461EF58-9D46-6ED6-D869-AC109D32106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799" y="1417227"/>
            <a:ext cx="6400801" cy="4526371"/>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A38F87C7-0DD5-BCCB-02C8-6F54C2B595CC}"/>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A266CC35-1EEC-7424-0C06-81D59ED3449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25940"/>
            <a:ext cx="6400800" cy="4526371"/>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765D4B50-5FE0-DC57-E1CE-DD7BA2CDDA92}"/>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Map&#10;&#10;Description automatically generated">
            <a:extLst>
              <a:ext uri="{FF2B5EF4-FFF2-40B4-BE49-F238E27FC236}">
                <a16:creationId xmlns:a16="http://schemas.microsoft.com/office/drawing/2014/main" id="{A891D469-F2EE-BB12-D84F-4EFACBAA48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5965"/>
            <a:ext cx="6400801" cy="4526372"/>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pic>
        <p:nvPicPr>
          <p:cNvPr id="5" name="Picture 4">
            <a:extLst>
              <a:ext uri="{FF2B5EF4-FFF2-40B4-BE49-F238E27FC236}">
                <a16:creationId xmlns:a16="http://schemas.microsoft.com/office/drawing/2014/main" id="{7D1B6679-5027-15E9-6B57-BC0C608F8D7A}"/>
              </a:ext>
            </a:extLst>
          </p:cNvPr>
          <p:cNvPicPr preferRelativeResize="0"/>
          <p:nvPr/>
        </p:nvPicPr>
        <p:blipFill>
          <a:blip r:embed="rId2"/>
          <a:stretch>
            <a:fillRect/>
          </a:stretch>
        </p:blipFill>
        <p:spPr>
          <a:xfrm>
            <a:off x="152400" y="1749828"/>
            <a:ext cx="5390460" cy="3861010"/>
          </a:xfrm>
          <a:prstGeom prst="rect">
            <a:avLst/>
          </a:prstGeom>
        </p:spPr>
      </p:pic>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Map&#10;&#10;Description automatically generated">
            <a:extLst>
              <a:ext uri="{FF2B5EF4-FFF2-40B4-BE49-F238E27FC236}">
                <a16:creationId xmlns:a16="http://schemas.microsoft.com/office/drawing/2014/main" id="{4984C097-0841-6524-42A5-789B50ED0A3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461" y="1426029"/>
            <a:ext cx="6401140" cy="4526612"/>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F43F64CD-299D-00B7-BD4C-6469399E0384}"/>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pic>
        <p:nvPicPr>
          <p:cNvPr id="7" name="Picture 6">
            <a:extLst>
              <a:ext uri="{FF2B5EF4-FFF2-40B4-BE49-F238E27FC236}">
                <a16:creationId xmlns:a16="http://schemas.microsoft.com/office/drawing/2014/main" id="{87F6E0DB-6A85-D620-F6ED-0E921B3002B5}"/>
              </a:ext>
            </a:extLst>
          </p:cNvPr>
          <p:cNvPicPr preferRelativeResize="0"/>
          <p:nvPr/>
        </p:nvPicPr>
        <p:blipFill>
          <a:blip r:embed="rId2"/>
          <a:stretch>
            <a:fillRect/>
          </a:stretch>
        </p:blipFill>
        <p:spPr>
          <a:xfrm>
            <a:off x="152399" y="1762247"/>
            <a:ext cx="5332371" cy="3819403"/>
          </a:xfrm>
          <a:prstGeom prst="rect">
            <a:avLst/>
          </a:prstGeom>
        </p:spPr>
      </p:pic>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Diagram, map&#10;&#10;Description automatically generated">
            <a:extLst>
              <a:ext uri="{FF2B5EF4-FFF2-40B4-BE49-F238E27FC236}">
                <a16:creationId xmlns:a16="http://schemas.microsoft.com/office/drawing/2014/main" id="{907D2E1F-0122-5BDC-EFEF-C215C02E7B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9056"/>
            <a:ext cx="6400801" cy="4526372"/>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055EB403-FA5B-5D11-256F-A58DAB97DB41}"/>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1D3D8E19-F1F3-3EA2-018A-0EDE3947199E}"/>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D7D7D32-E859-6553-88E2-3663CC395BD7}"/>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51951" y="1701514"/>
            <a:ext cx="1198148" cy="2591052"/>
            <a:chOff x="2775759" y="1900958"/>
            <a:chExt cx="1198148" cy="2591052"/>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990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00958"/>
              <a:ext cx="0" cy="8981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91628"/>
              <a:ext cx="0" cy="8003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983452" y="2566043"/>
            <a:ext cx="1198148" cy="1995438"/>
            <a:chOff x="10485745" y="2590887"/>
            <a:chExt cx="1198148" cy="1995438"/>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217459"/>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0.1</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58632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59088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590887"/>
              <a:ext cx="0" cy="62657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110011"/>
              <a:ext cx="0" cy="47631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5188087" y="1971675"/>
            <a:ext cx="1198148" cy="2248152"/>
            <a:chOff x="2775759" y="2243858"/>
            <a:chExt cx="1198148" cy="2248152"/>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29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438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438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7067072" y="2353139"/>
            <a:ext cx="1198148" cy="2248152"/>
            <a:chOff x="2775759" y="2243858"/>
            <a:chExt cx="1198148" cy="2248152"/>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29610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6</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2438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243858"/>
              <a:ext cx="0" cy="7171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853553"/>
              <a:ext cx="0" cy="63845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563B782F-F3F7-17DB-D458-E2A24E8839E1}"/>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BEE93F95-D81B-8303-C3D2-DF1A755CCA50}"/>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0C0C2821-6569-3DBC-07AB-1781335DFC3C}"/>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1CAE4A70-3B15-4CAE-E2BC-5F93E28025A5}"/>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CD254ACD-27DC-14A9-52BC-772847FABB6D}"/>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34CB45FF-1A45-FD22-B7D7-0181F9DFFBB3}"/>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C2ABC0D5-F67B-052B-06AF-8AD5B07F2857}"/>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14050741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B05AC267-1590-CCE5-AA7A-66BCB3BA6C1B}"/>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20337746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339</TotalTime>
  <Words>1457</Words>
  <Application>Microsoft Office PowerPoint</Application>
  <PresentationFormat>Widescreen</PresentationFormat>
  <Paragraphs>135</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96</cp:revision>
  <dcterms:created xsi:type="dcterms:W3CDTF">2022-07-04T13:32:28Z</dcterms:created>
  <dcterms:modified xsi:type="dcterms:W3CDTF">2023-03-07T00:40:07Z</dcterms:modified>
</cp:coreProperties>
</file>